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4" r:id="rId1"/>
    <p:sldMasterId id="2147484874" r:id="rId2"/>
    <p:sldMasterId id="2147484881" r:id="rId3"/>
    <p:sldMasterId id="2147484888" r:id="rId4"/>
  </p:sldMasterIdLst>
  <p:notesMasterIdLst>
    <p:notesMasterId r:id="rId14"/>
  </p:notesMasterIdLst>
  <p:handoutMasterIdLst>
    <p:handoutMasterId r:id="rId15"/>
  </p:handoutMasterIdLst>
  <p:sldIdLst>
    <p:sldId id="5909" r:id="rId5"/>
    <p:sldId id="6053" r:id="rId6"/>
    <p:sldId id="6320" r:id="rId7"/>
    <p:sldId id="6329" r:id="rId8"/>
    <p:sldId id="6330" r:id="rId9"/>
    <p:sldId id="6331" r:id="rId10"/>
    <p:sldId id="6332" r:id="rId11"/>
    <p:sldId id="6333" r:id="rId12"/>
    <p:sldId id="6334" r:id="rId13"/>
  </p:sldIdLst>
  <p:sldSz cx="10260013" cy="6858000"/>
  <p:notesSz cx="6805613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1pPr>
    <a:lvl2pPr marL="430124" indent="26982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2pPr>
    <a:lvl3pPr marL="861833" indent="52376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3pPr>
    <a:lvl4pPr marL="1293544" indent="77772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4pPr>
    <a:lvl5pPr marL="1725254" indent="103166" algn="l" rtl="0" fontAlgn="base" latinLnBrk="1">
      <a:spcBef>
        <a:spcPct val="0"/>
      </a:spcBef>
      <a:spcAft>
        <a:spcPct val="0"/>
      </a:spcAft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5pPr>
    <a:lvl6pPr marL="2285525" algn="l" defTabSz="914210" rtl="0" eaLnBrk="1" latinLnBrk="1" hangingPunct="1"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6pPr>
    <a:lvl7pPr marL="2742630" algn="l" defTabSz="914210" rtl="0" eaLnBrk="1" latinLnBrk="1" hangingPunct="1"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7pPr>
    <a:lvl8pPr marL="3199737" algn="l" defTabSz="914210" rtl="0" eaLnBrk="1" latinLnBrk="1" hangingPunct="1"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8pPr>
    <a:lvl9pPr marL="3656841" algn="l" defTabSz="914210" rtl="0" eaLnBrk="1" latinLnBrk="1" hangingPunct="1">
      <a:defRPr kumimoji="1" sz="1100" kern="1200">
        <a:solidFill>
          <a:schemeClr val="tx1"/>
        </a:solidFill>
        <a:latin typeface="맑은 고딕" pitchFamily="50" charset="-127"/>
        <a:ea typeface="굴림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671893D9-5D51-4D8F-80DF-EF916992F7B9}">
          <p14:sldIdLst>
            <p14:sldId id="5909"/>
            <p14:sldId id="6053"/>
            <p14:sldId id="6320"/>
            <p14:sldId id="6329"/>
            <p14:sldId id="6330"/>
            <p14:sldId id="6331"/>
            <p14:sldId id="6332"/>
            <p14:sldId id="6333"/>
            <p14:sldId id="6334"/>
          </p14:sldIdLst>
        </p14:section>
      </p14:sectionLst>
    </p:ext>
    <p:ext uri="{EFAFB233-063F-42B5-8137-9DF3F51BA10A}">
      <p15:sldGuideLst xmlns="" xmlns:p15="http://schemas.microsoft.com/office/powerpoint/2012/main">
        <p15:guide id="2" orient="horz" pos="572" userDrawn="1">
          <p15:clr>
            <a:srgbClr val="A4A3A4"/>
          </p15:clr>
        </p15:guide>
        <p15:guide id="3" orient="horz" pos="4065" userDrawn="1">
          <p15:clr>
            <a:srgbClr val="A4A3A4"/>
          </p15:clr>
        </p15:guide>
        <p15:guide id="6" orient="horz" pos="1434" userDrawn="1">
          <p15:clr>
            <a:srgbClr val="A4A3A4"/>
          </p15:clr>
        </p15:guide>
        <p15:guide id="14" orient="horz" pos="3498" userDrawn="1">
          <p15:clr>
            <a:srgbClr val="A4A3A4"/>
          </p15:clr>
        </p15:guide>
        <p15:guide id="16" orient="horz" pos="731" userDrawn="1">
          <p15:clr>
            <a:srgbClr val="A4A3A4"/>
          </p15:clr>
        </p15:guide>
        <p15:guide id="18" pos="170" userDrawn="1">
          <p15:clr>
            <a:srgbClr val="A4A3A4"/>
          </p15:clr>
        </p15:guide>
        <p15:guide id="19" pos="6293" userDrawn="1">
          <p15:clr>
            <a:srgbClr val="A4A3A4"/>
          </p15:clr>
        </p15:guide>
        <p15:guide id="20" pos="5840" userDrawn="1">
          <p15:clr>
            <a:srgbClr val="A4A3A4"/>
          </p15:clr>
        </p15:guide>
        <p15:guide id="21" pos="3232" userDrawn="1">
          <p15:clr>
            <a:srgbClr val="A4A3A4"/>
          </p15:clr>
        </p15:guide>
        <p15:guide id="22" pos="3118" userDrawn="1">
          <p15:clr>
            <a:srgbClr val="A4A3A4"/>
          </p15:clr>
        </p15:guide>
        <p15:guide id="23" pos="3345" userDrawn="1">
          <p15:clr>
            <a:srgbClr val="A4A3A4"/>
          </p15:clr>
        </p15:guide>
        <p15:guide id="24" pos="623" userDrawn="1">
          <p15:clr>
            <a:srgbClr val="A4A3A4"/>
          </p15:clr>
        </p15:guide>
        <p15:guide id="25" pos="283" userDrawn="1">
          <p15:clr>
            <a:srgbClr val="A4A3A4"/>
          </p15:clr>
        </p15:guide>
        <p15:guide id="26" pos="6180" userDrawn="1">
          <p15:clr>
            <a:srgbClr val="A4A3A4"/>
          </p15:clr>
        </p15:guide>
        <p15:guide id="27" orient="horz" pos="2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>
          <p15:clr>
            <a:srgbClr val="A4A3A4"/>
          </p15:clr>
        </p15:guide>
        <p15:guide id="2" pos="214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CCFF66"/>
    <a:srgbClr val="FF0066"/>
    <a:srgbClr val="FF5050"/>
    <a:srgbClr val="FF9900"/>
    <a:srgbClr val="FCC180"/>
    <a:srgbClr val="F2DCDB"/>
    <a:srgbClr val="FFFF99"/>
    <a:srgbClr val="FFCC00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D083AE6-46FA-4A59-8FB0-9F97EB10719F}" styleName="밝은 스타일 3 - 강조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793" autoAdjust="0"/>
    <p:restoredTop sz="98837" autoAdjust="0"/>
  </p:normalViewPr>
  <p:slideViewPr>
    <p:cSldViewPr snapToObjects="1">
      <p:cViewPr>
        <p:scale>
          <a:sx n="119" d="100"/>
          <a:sy n="119" d="100"/>
        </p:scale>
        <p:origin x="-96" y="-212"/>
      </p:cViewPr>
      <p:guideLst>
        <p:guide orient="horz" pos="572"/>
        <p:guide orient="horz" pos="4065"/>
        <p:guide orient="horz" pos="1434"/>
        <p:guide orient="horz" pos="3498"/>
        <p:guide orient="horz" pos="731"/>
        <p:guide orient="horz" pos="28"/>
        <p:guide pos="170"/>
        <p:guide pos="6293"/>
        <p:guide pos="5840"/>
        <p:guide pos="3232"/>
        <p:guide pos="3118"/>
        <p:guide pos="3345"/>
        <p:guide pos="623"/>
        <p:guide pos="283"/>
        <p:guide pos="61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92"/>
    </p:cViewPr>
  </p:sorterViewPr>
  <p:notesViewPr>
    <p:cSldViewPr snapToObjects="1">
      <p:cViewPr varScale="1">
        <p:scale>
          <a:sx n="75" d="100"/>
          <a:sy n="75" d="100"/>
        </p:scale>
        <p:origin x="2694" y="84"/>
      </p:cViewPr>
      <p:guideLst>
        <p:guide orient="horz" pos="3131"/>
        <p:guide pos="214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161384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7700" y="641350"/>
            <a:ext cx="5545138" cy="3708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  <p:sp>
        <p:nvSpPr>
          <p:cNvPr id="3" name="슬라이드 노트 개체 틀 2"/>
          <p:cNvSpPr>
            <a:spLocks noGrp="1"/>
          </p:cNvSpPr>
          <p:nvPr>
            <p:ph type="body" sz="quarter" idx="3"/>
          </p:nvPr>
        </p:nvSpPr>
        <p:spPr bwMode="auto">
          <a:xfrm>
            <a:off x="678655" y="4720415"/>
            <a:ext cx="5448305" cy="4472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5" tIns="45635" rIns="91245" bIns="456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699013133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3012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861833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29354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725254" algn="l" rtl="0" eaLnBrk="0" fontAlgn="base" latinLnBrk="1" hangingPunct="0">
      <a:lnSpc>
        <a:spcPct val="90000"/>
      </a:lnSpc>
      <a:spcBef>
        <a:spcPct val="40000"/>
      </a:spcBef>
      <a:spcAft>
        <a:spcPct val="0"/>
      </a:spcAft>
      <a:defRPr kumimoji="1" sz="11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158300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89960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21621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53281" algn="l" defTabSz="863319" rtl="0" eaLnBrk="1" latinLnBrk="1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4829" y="2144999"/>
            <a:ext cx="7344403" cy="786495"/>
          </a:xfrm>
        </p:spPr>
        <p:txBody>
          <a:bodyPr/>
          <a:lstStyle>
            <a:lvl1pPr>
              <a:defRPr sz="3999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4829" y="2998522"/>
            <a:ext cx="7344403" cy="54071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</p:spTree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2"/>
          <p:cNvSpPr>
            <a:spLocks noGrp="1"/>
          </p:cNvSpPr>
          <p:nvPr>
            <p:ph idx="1"/>
          </p:nvPr>
        </p:nvSpPr>
        <p:spPr>
          <a:xfrm>
            <a:off x="282811" y="628650"/>
            <a:ext cx="9694397" cy="614354"/>
          </a:xfrm>
        </p:spPr>
        <p:txBody>
          <a:bodyPr>
            <a:noAutofit/>
          </a:bodyPr>
          <a:lstStyle>
            <a:lvl1pPr marL="0" indent="0"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ko-KR" altLang="en-US" sz="1600" b="1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600" b="1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  <a:ea typeface="+mn-ea"/>
                <a:cs typeface="Tahoma" pitchFamily="34" charset="0"/>
              </a:defRPr>
            </a:lvl2pPr>
            <a:lvl3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dirty="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4829" y="2144999"/>
            <a:ext cx="7344403" cy="786495"/>
          </a:xfrm>
        </p:spPr>
        <p:txBody>
          <a:bodyPr/>
          <a:lstStyle>
            <a:lvl1pPr>
              <a:defRPr sz="3999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4829" y="2998522"/>
            <a:ext cx="7344403" cy="54071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41059745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3551938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4318" y="253228"/>
            <a:ext cx="6085497" cy="338134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4319" y="853536"/>
            <a:ext cx="9194544" cy="5402685"/>
          </a:xfrm>
        </p:spPr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3752999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2"/>
          <p:cNvSpPr>
            <a:spLocks noGrp="1"/>
          </p:cNvSpPr>
          <p:nvPr>
            <p:ph idx="1"/>
          </p:nvPr>
        </p:nvSpPr>
        <p:spPr>
          <a:xfrm>
            <a:off x="282811" y="628650"/>
            <a:ext cx="9694397" cy="614354"/>
          </a:xfrm>
        </p:spPr>
        <p:txBody>
          <a:bodyPr>
            <a:noAutofit/>
          </a:bodyPr>
          <a:lstStyle>
            <a:lvl1pPr marL="0" indent="0"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ko-KR" altLang="en-US" sz="1600" b="1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600" b="1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  <a:ea typeface="+mn-ea"/>
                <a:cs typeface="Tahoma" pitchFamily="34" charset="0"/>
              </a:defRPr>
            </a:lvl2pPr>
            <a:lvl3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algn="l" rtl="0" fontAlgn="base" latinLnBrk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lang="ko-KR" altLang="en-US" sz="1800" b="1" kern="1200" dirty="0" smtClean="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</p:txBody>
      </p:sp>
    </p:spTree>
    <p:extLst>
      <p:ext uri="{BB962C8B-B14F-4D97-AF65-F5344CB8AC3E}">
        <p14:creationId xmlns:p14="http://schemas.microsoft.com/office/powerpoint/2010/main" val="26524936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963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3263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167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4318" y="253228"/>
            <a:ext cx="6085497" cy="338134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4319" y="853536"/>
            <a:ext cx="9194544" cy="5402685"/>
          </a:xfrm>
        </p:spPr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656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2"/>
          <p:cNvSpPr txBox="1"/>
          <p:nvPr userDrawn="1"/>
        </p:nvSpPr>
        <p:spPr>
          <a:xfrm>
            <a:off x="9528835" y="6568638"/>
            <a:ext cx="714472" cy="260545"/>
          </a:xfrm>
          <a:prstGeom prst="rect">
            <a:avLst/>
          </a:prstGeom>
          <a:noFill/>
        </p:spPr>
        <p:txBody>
          <a:bodyPr lIns="81504" tIns="40752" rIns="81504" bIns="40752">
            <a:spAutoFit/>
          </a:bodyPr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1pPr>
            <a:lvl2pPr marL="430213" indent="269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2pPr>
            <a:lvl3pPr marL="862013" indent="523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3pPr>
            <a:lvl4pPr marL="1293813" indent="777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4pPr>
            <a:lvl5pPr marL="1725613" indent="103188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맑은 고딕" pitchFamily="50" charset="-127"/>
                <a:ea typeface="굴림" pitchFamily="50" charset="-127"/>
                <a:cs typeface="+mn-cs"/>
              </a:defRPr>
            </a:lvl9pPr>
          </a:lstStyle>
          <a:p>
            <a:pPr algn="r">
              <a:defRPr/>
            </a:pPr>
            <a:fld id="{7D266B0A-0B80-4459-AFDD-E987CF5BB83F}" type="slidenum">
              <a:rPr lang="ko-KR" altLang="en-US" sz="1100" b="0"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0" dirty="0"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9473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3001" y="6356352"/>
            <a:ext cx="2394003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05505" y="6356352"/>
            <a:ext cx="3249004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882118" y="6495768"/>
            <a:ext cx="2394003" cy="365125"/>
          </a:xfrm>
          <a:prstGeom prst="rect">
            <a:avLst/>
          </a:prstGeom>
        </p:spPr>
        <p:txBody>
          <a:bodyPr/>
          <a:lstStyle/>
          <a:p>
            <a:fld id="{335433CF-02B4-455C-8DCE-EF200671B5D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384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4829" y="2144999"/>
            <a:ext cx="7344403" cy="786495"/>
          </a:xfrm>
        </p:spPr>
        <p:txBody>
          <a:bodyPr/>
          <a:lstStyle>
            <a:lvl1pPr>
              <a:defRPr sz="3999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2976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4829" y="2998522"/>
            <a:ext cx="7344403" cy="54071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1" smtClean="0">
                <a:latin typeface="맑은 고딕" pitchFamily="50" charset="-127"/>
                <a:ea typeface="맑은 고딕" pitchFamily="50" charset="-127"/>
              </a:defRPr>
            </a:lvl1pPr>
          </a:lstStyle>
          <a:p>
            <a:endParaRPr lang="ko-KR" altLang="en-US" dirty="0"/>
          </a:p>
        </p:txBody>
      </p:sp>
    </p:spTree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24318" y="253228"/>
            <a:ext cx="6085497" cy="338134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24319" y="853536"/>
            <a:ext cx="9194544" cy="5402685"/>
          </a:xfrm>
        </p:spPr>
        <p:txBody>
          <a:bodyPr/>
          <a:lstStyle>
            <a:lvl1pPr marL="215811" marR="0" indent="-215811" algn="l" defTabSz="863247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+mj-lt"/>
              <a:buAutoNum type="arabicPeriod"/>
              <a:tabLst/>
              <a:defRPr b="1">
                <a:latin typeface="맑은 고딕" pitchFamily="50" charset="-127"/>
                <a:ea typeface="맑은 고딕" pitchFamily="50" charset="-127"/>
              </a:defRPr>
            </a:lvl1pPr>
            <a:lvl2pPr>
              <a:buNone/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buNone/>
              <a:defRPr>
                <a:latin typeface="맑은 고딕" pitchFamily="50" charset="-127"/>
                <a:ea typeface="맑은 고딕" pitchFamily="50" charset="-127"/>
              </a:defRPr>
            </a:lvl3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5" descr="1-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14793" y="10"/>
            <a:ext cx="10260014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4213" y="254000"/>
            <a:ext cx="6085306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Header Ling (Korean-</a:t>
            </a:r>
            <a:r>
              <a:rPr lang="ko-KR" altLang="en-US"/>
              <a:t>맑은고딕</a:t>
            </a:r>
            <a:r>
              <a:rPr lang="en-US" altLang="ko-KR"/>
              <a:t>, English-Arial font17)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4213" y="854082"/>
            <a:ext cx="9194550" cy="540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수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436256" y="6570664"/>
            <a:ext cx="753059" cy="265596"/>
          </a:xfrm>
          <a:prstGeom prst="rect">
            <a:avLst/>
          </a:prstGeom>
          <a:noFill/>
        </p:spPr>
        <p:txBody>
          <a:bodyPr lIns="86332" tIns="43166" rIns="86332" bIns="43166">
            <a:spAutoFit/>
          </a:bodyPr>
          <a:lstStyle/>
          <a:p>
            <a:pPr algn="r">
              <a:defRPr/>
            </a:pPr>
            <a:fld id="{7D266B0A-0B80-4459-AFDD-E987CF5BB83F}" type="slidenum">
              <a:rPr lang="ko-KR" altLang="en-US" sz="1100" b="1"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1" dirty="0">
              <a:ea typeface="맑은 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45" r:id="rId1"/>
    <p:sldLayoutId id="2147484795" r:id="rId2"/>
    <p:sldLayoutId id="2147484796" r:id="rId3"/>
    <p:sldLayoutId id="2147484873" r:id="rId4"/>
    <p:sldLayoutId id="2147484880" r:id="rId5"/>
    <p:sldLayoutId id="2147484887" r:id="rId6"/>
  </p:sldLayoutIdLst>
  <p:hf hdr="0" ftr="0"/>
  <p:txStyles>
    <p:titleStyle>
      <a:lvl1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algn="l" defTabSz="898264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431624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863247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294872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726498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marL="176161" indent="-176161" algn="l" defTabSz="898264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l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34849" indent="-82525" algn="l" defTabSz="89826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796693" indent="-92048" algn="l" defTabSz="898264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233128" indent="-176161" algn="l" defTabSz="898264" rtl="0" eaLnBrk="0" fontAlgn="base" latinLnBrk="1" hangingPunct="0">
        <a:spcBef>
          <a:spcPct val="20000"/>
        </a:spcBef>
        <a:spcAft>
          <a:spcPct val="0"/>
        </a:spcAft>
        <a:buFont typeface="Optima" pitchFamily="2" charset="2"/>
        <a:buChar char="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2021885" indent="-223774" algn="l" defTabSz="898264" rtl="0" eaLnBrk="0" fontAlgn="base" latinLnBrk="1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Arial" pitchFamily="34" charset="0"/>
          <a:ea typeface="맑은 고딕" pitchFamily="50" charset="-127"/>
        </a:defRPr>
      </a:lvl5pPr>
      <a:lvl6pPr marL="2373932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6pPr>
      <a:lvl7pPr marL="2805555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7pPr>
      <a:lvl8pPr marL="3237180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8pPr>
      <a:lvl9pPr marL="3668799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24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24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87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49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11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74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36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991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5" descr="1-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14038" y="13"/>
            <a:ext cx="10260013" cy="685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4318" y="253228"/>
            <a:ext cx="6085497" cy="338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Header Ling (Korean-</a:t>
            </a:r>
            <a:r>
              <a:rPr lang="ko-KR" altLang="en-US"/>
              <a:t>맑은고딕</a:t>
            </a:r>
            <a:r>
              <a:rPr lang="en-US" altLang="ko-KR"/>
              <a:t>, English-Arial font17)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4319" y="853536"/>
            <a:ext cx="9194544" cy="5402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수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436342" y="6570514"/>
            <a:ext cx="753472" cy="265596"/>
          </a:xfrm>
          <a:prstGeom prst="rect">
            <a:avLst/>
          </a:prstGeom>
          <a:noFill/>
        </p:spPr>
        <p:txBody>
          <a:bodyPr lIns="86332" tIns="43166" rIns="86332" bIns="43166">
            <a:spAutoFit/>
          </a:bodyPr>
          <a:lstStyle/>
          <a:p>
            <a:pPr algn="r">
              <a:defRPr/>
            </a:pPr>
            <a:fld id="{4921F1C3-2873-4356-ABEA-E064650F789A}" type="slidenum">
              <a:rPr lang="ko-KR" altLang="en-US" sz="1100" b="1">
                <a:solidFill>
                  <a:srgbClr val="000000"/>
                </a:solidFill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1" dirty="0">
              <a:solidFill>
                <a:srgbClr val="000000"/>
              </a:solidFill>
              <a:ea typeface="맑은 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75" r:id="rId1"/>
    <p:sldLayoutId id="2147484876" r:id="rId2"/>
    <p:sldLayoutId id="2147484877" r:id="rId3"/>
    <p:sldLayoutId id="2147484878" r:id="rId4"/>
  </p:sldLayoutIdLst>
  <p:hf hdr="0" ftr="0"/>
  <p:txStyles>
    <p:titleStyle>
      <a:lvl1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431624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863247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294872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726498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marL="176847" indent="-176847" algn="l" defTabSz="899216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l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36120" indent="-83927" algn="l" defTabSz="899216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797306" indent="-92920" algn="l" defTabSz="899216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233427" indent="-176847" algn="l" defTabSz="899216" rtl="0" eaLnBrk="0" fontAlgn="base" latinLnBrk="1" hangingPunct="0">
        <a:spcBef>
          <a:spcPct val="20000"/>
        </a:spcBef>
        <a:spcAft>
          <a:spcPct val="0"/>
        </a:spcAft>
        <a:buFont typeface="Optima" pitchFamily="2" charset="2"/>
        <a:buChar char="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2023237" indent="-224802" algn="l" defTabSz="899216" rtl="0" eaLnBrk="0" fontAlgn="base" latinLnBrk="1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Arial" pitchFamily="34" charset="0"/>
          <a:ea typeface="맑은 고딕" pitchFamily="50" charset="-127"/>
        </a:defRPr>
      </a:lvl5pPr>
      <a:lvl6pPr marL="2373932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6pPr>
      <a:lvl7pPr marL="2805555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7pPr>
      <a:lvl8pPr marL="3237180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8pPr>
      <a:lvl9pPr marL="3668799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24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24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87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49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11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74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36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991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5" descr="1-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14038" y="13"/>
            <a:ext cx="10260013" cy="685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4318" y="253228"/>
            <a:ext cx="6085497" cy="338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Header Ling (Korean-</a:t>
            </a:r>
            <a:r>
              <a:rPr lang="ko-KR" altLang="en-US"/>
              <a:t>맑은고딕</a:t>
            </a:r>
            <a:r>
              <a:rPr lang="en-US" altLang="ko-KR"/>
              <a:t>, English-Arial font17)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4319" y="853536"/>
            <a:ext cx="9194544" cy="5402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332" tIns="43166" rIns="86332" bIns="43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수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436342" y="6570514"/>
            <a:ext cx="753472" cy="265596"/>
          </a:xfrm>
          <a:prstGeom prst="rect">
            <a:avLst/>
          </a:prstGeom>
          <a:noFill/>
        </p:spPr>
        <p:txBody>
          <a:bodyPr lIns="86332" tIns="43166" rIns="86332" bIns="43166">
            <a:spAutoFit/>
          </a:bodyPr>
          <a:lstStyle/>
          <a:p>
            <a:pPr algn="r">
              <a:defRPr/>
            </a:pPr>
            <a:fld id="{4921F1C3-2873-4356-ABEA-E064650F789A}" type="slidenum">
              <a:rPr lang="ko-KR" altLang="en-US" sz="1100" b="1">
                <a:solidFill>
                  <a:srgbClr val="000000"/>
                </a:solidFill>
                <a:ea typeface="맑은 고딕" pitchFamily="50" charset="-127"/>
              </a:rPr>
              <a:pPr algn="r">
                <a:defRPr/>
              </a:pPr>
              <a:t>‹#›</a:t>
            </a:fld>
            <a:endParaRPr lang="en-US" altLang="ko-KR" sz="1100" b="1" dirty="0">
              <a:solidFill>
                <a:srgbClr val="000000"/>
              </a:solidFill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63766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2" r:id="rId1"/>
    <p:sldLayoutId id="2147484883" r:id="rId2"/>
    <p:sldLayoutId id="2147484884" r:id="rId3"/>
    <p:sldLayoutId id="2147484885" r:id="rId4"/>
  </p:sldLayoutIdLst>
  <p:hf hdr="0" ftr="0"/>
  <p:txStyles>
    <p:titleStyle>
      <a:lvl1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2pPr>
      <a:lvl3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3pPr>
      <a:lvl4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4pPr>
      <a:lvl5pPr algn="l" defTabSz="899216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rgbClr val="000000"/>
          </a:solidFill>
          <a:latin typeface="맑은 고딕" pitchFamily="50" charset="-127"/>
          <a:ea typeface="맑은 고딕" pitchFamily="50" charset="-127"/>
        </a:defRPr>
      </a:lvl5pPr>
      <a:lvl6pPr marL="431624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6pPr>
      <a:lvl7pPr marL="863247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7pPr>
      <a:lvl8pPr marL="1294872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8pPr>
      <a:lvl9pPr marL="1726498" algn="l" rtl="0" fontAlgn="base" latinLnBrk="1">
        <a:spcBef>
          <a:spcPct val="0"/>
        </a:spcBef>
        <a:spcAft>
          <a:spcPct val="0"/>
        </a:spcAft>
        <a:defRPr kumimoji="1" sz="1500" b="1">
          <a:solidFill>
            <a:srgbClr val="000000"/>
          </a:solidFill>
          <a:latin typeface="굴림" pitchFamily="50" charset="-127"/>
          <a:ea typeface="굴림" pitchFamily="50" charset="-127"/>
        </a:defRPr>
      </a:lvl9pPr>
    </p:titleStyle>
    <p:bodyStyle>
      <a:lvl1pPr marL="176847" indent="-176847" algn="l" defTabSz="899216" rtl="0" eaLnBrk="0" fontAlgn="base" latinLnBrk="1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l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436120" indent="-83927" algn="l" defTabSz="899216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797306" indent="-92920" algn="l" defTabSz="899216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233427" indent="-176847" algn="l" defTabSz="899216" rtl="0" eaLnBrk="0" fontAlgn="base" latinLnBrk="1" hangingPunct="0">
        <a:spcBef>
          <a:spcPct val="20000"/>
        </a:spcBef>
        <a:spcAft>
          <a:spcPct val="0"/>
        </a:spcAft>
        <a:buFont typeface="Optima" pitchFamily="2" charset="2"/>
        <a:buChar char=""/>
        <a:defRPr kumimoji="1" sz="11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2023237" indent="-224802" algn="l" defTabSz="899216" rtl="0" eaLnBrk="0" fontAlgn="base" latinLnBrk="1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Arial" pitchFamily="34" charset="0"/>
          <a:ea typeface="맑은 고딕" pitchFamily="50" charset="-127"/>
        </a:defRPr>
      </a:lvl5pPr>
      <a:lvl6pPr marL="2373932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6pPr>
      <a:lvl7pPr marL="2805555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7pPr>
      <a:lvl8pPr marL="3237180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8pPr>
      <a:lvl9pPr marL="3668799" indent="-215811" algn="l" rtl="0" fontAlgn="base" latinLnBrk="1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624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24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87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49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8118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742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1367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991" algn="l" defTabSz="863247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5"/>
          <p:cNvSpPr txBox="1">
            <a:spLocks/>
          </p:cNvSpPr>
          <p:nvPr/>
        </p:nvSpPr>
        <p:spPr>
          <a:xfrm>
            <a:off x="9700976" y="6688139"/>
            <a:ext cx="517933" cy="46037"/>
          </a:xfrm>
          <a:prstGeom prst="rect">
            <a:avLst/>
          </a:prstGeom>
        </p:spPr>
        <p:txBody>
          <a:bodyPr wrap="none" lIns="0" r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E6C8DC-BD89-43D9-A8C8-3B70089026BA}" type="slidenum">
              <a:rPr kumimoji="0" lang="ko-KR" altLang="en-US" sz="900" b="0">
                <a:solidFill>
                  <a:prstClr val="black"/>
                </a:solidFill>
                <a:latin typeface="맑은 고딕"/>
                <a:ea typeface="맑은 고딕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900" b="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58145" y="622300"/>
            <a:ext cx="9740435" cy="0"/>
          </a:xfrm>
          <a:prstGeom prst="line">
            <a:avLst/>
          </a:prstGeom>
          <a:noFill/>
          <a:ln w="349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ko-KR" alt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67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9" r:id="rId1"/>
    <p:sldLayoutId id="2147484890" r:id="rId2"/>
    <p:sldLayoutId id="2147484891" r:id="rId3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굴림" charset="-127"/>
          <a:ea typeface="굴림" charset="-127"/>
        </a:defRPr>
      </a:lvl9pPr>
    </p:titleStyle>
    <p:bodyStyle>
      <a:lvl1pPr marL="342900" indent="-3429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Font typeface="Wingdings" pitchFamily="2" charset="2"/>
        <a:buChar char="•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Char char="–"/>
        <a:defRPr kumimoji="1" sz="2800" b="1">
          <a:solidFill>
            <a:schemeClr val="tx1"/>
          </a:solidFill>
          <a:latin typeface="+mn-lt"/>
          <a:ea typeface="+mn-ea"/>
        </a:defRPr>
      </a:lvl2pPr>
      <a:lvl3pPr marL="952500" indent="-195263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•"/>
        <a:defRPr kumimoji="1" sz="2400" b="1">
          <a:solidFill>
            <a:schemeClr val="tx1"/>
          </a:solidFill>
          <a:latin typeface="+mn-lt"/>
          <a:ea typeface="+mn-ea"/>
        </a:defRPr>
      </a:lvl3pPr>
      <a:lvl4pPr marL="13716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70000"/>
        <a:buChar char="–"/>
        <a:defRPr kumimoji="1" sz="2000" b="1">
          <a:solidFill>
            <a:schemeClr val="tx1"/>
          </a:solidFill>
          <a:latin typeface="+mn-lt"/>
          <a:ea typeface="+mn-ea"/>
        </a:defRPr>
      </a:lvl4pPr>
      <a:lvl5pPr marL="1790700" indent="-228600" algn="l" rtl="0" eaLnBrk="0" fontAlgn="base" latinLnBrk="1" hangingPunct="0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5pPr>
      <a:lvl6pPr marL="22479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6pPr>
      <a:lvl7pPr marL="27051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7pPr>
      <a:lvl8pPr marL="31623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8pPr>
      <a:lvl9pPr marL="3619500" indent="-228600" algn="l" rtl="0" fontAlgn="base" latinLnBrk="1">
        <a:lnSpc>
          <a:spcPct val="115000"/>
        </a:lnSpc>
        <a:spcBef>
          <a:spcPct val="15000"/>
        </a:spcBef>
        <a:spcAft>
          <a:spcPct val="0"/>
        </a:spcAft>
        <a:buSzPct val="50000"/>
        <a:buChar char="•"/>
        <a:defRPr kumimoji="1"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s.nugu.co.kr/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66" y="351349"/>
            <a:ext cx="1309960" cy="542295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66" y="6597368"/>
            <a:ext cx="645204" cy="14400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="" xmlns:a16="http://schemas.microsoft.com/office/drawing/2014/main" id="{02F858F1-261F-47CE-AA80-6DF58CF547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93" t="90308" r="4504" b="3383"/>
          <a:stretch/>
        </p:blipFill>
        <p:spPr>
          <a:xfrm>
            <a:off x="7979432" y="6454466"/>
            <a:ext cx="2010706" cy="396000"/>
          </a:xfrm>
          <a:prstGeom prst="rect">
            <a:avLst/>
          </a:prstGeom>
        </p:spPr>
      </p:pic>
      <p:sp>
        <p:nvSpPr>
          <p:cNvPr id="16" name="제목 1"/>
          <p:cNvSpPr txBox="1">
            <a:spLocks/>
          </p:cNvSpPr>
          <p:nvPr/>
        </p:nvSpPr>
        <p:spPr>
          <a:xfrm flipH="1">
            <a:off x="1082908" y="1751817"/>
            <a:ext cx="8079546" cy="1749193"/>
          </a:xfrm>
          <a:prstGeom prst="rect">
            <a:avLst/>
          </a:prstGeom>
        </p:spPr>
        <p:txBody>
          <a:bodyPr anchor="ctr" anchorCtr="0"/>
          <a:lstStyle>
            <a:lvl1pPr algn="l" defTabSz="900113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+mj-cs"/>
              </a:defRPr>
            </a:lvl1pPr>
            <a:lvl2pPr algn="l" defTabSz="900113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defTabSz="900113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defTabSz="900113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defTabSz="900113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6pPr>
            <a:lvl7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7pPr>
            <a:lvl8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8pPr>
            <a:lvl9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000000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ko-KR" sz="3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</a:t>
            </a:r>
            <a:r>
              <a:rPr lang="ko-KR" altLang="en-US" sz="3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개발 공모전 </a:t>
            </a:r>
            <a:r>
              <a:rPr lang="en-US" altLang="ko-KR" sz="3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endParaRPr lang="en-US" altLang="ko-KR" sz="28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8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양식</a:t>
            </a:r>
            <a:endParaRPr lang="ko-KR" altLang="en-US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4776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81776" y="582613"/>
            <a:ext cx="9901237" cy="3048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4133" eaLnBrk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300" kern="0" dirty="0">
              <a:solidFill>
                <a:srgbClr val="FFFFFF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3930158" y="3121224"/>
            <a:ext cx="239969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9388" marR="0" indent="-179388" algn="ctr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0000"/>
              <a:buFont typeface="Wingdings" pitchFamily="2" charset="2"/>
              <a:buNone/>
              <a:tabLst/>
            </a:pPr>
            <a:r>
              <a:rPr kumimoji="1" lang="ko-KR" altLang="en-US" sz="4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통 가이드</a:t>
            </a:r>
          </a:p>
        </p:txBody>
      </p:sp>
    </p:spTree>
    <p:extLst>
      <p:ext uri="{BB962C8B-B14F-4D97-AF65-F5344CB8AC3E}">
        <p14:creationId xmlns:p14="http://schemas.microsoft.com/office/powerpoint/2010/main" val="2826015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관련 안내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21889BE-D247-41B4-8D74-7E202D10FB64}"/>
              </a:ext>
            </a:extLst>
          </p:cNvPr>
          <p:cNvSpPr txBox="1"/>
          <p:nvPr/>
        </p:nvSpPr>
        <p:spPr>
          <a:xfrm>
            <a:off x="449486" y="954594"/>
            <a:ext cx="932503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안녕하세요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en-US" altLang="ko-KR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</a:t>
            </a:r>
            <a:r>
              <a:rPr lang="en-US" altLang="ko-KR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을 주최하는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K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텔레콤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developers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입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우선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저희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K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텔레콤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와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NUGU developers,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그리고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lay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에 관심을 가져 주셔서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감사합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자 여러분은 제출 양식에 맞는 내용을 작성하시고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</a:t>
            </a:r>
          </a:p>
          <a:p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developers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의 </a:t>
            </a:r>
            <a:r>
              <a:rPr lang="en-US" altLang="ko-KR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“</a:t>
            </a:r>
            <a:r>
              <a:rPr lang="ko-KR" altLang="en-US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휴 </a:t>
            </a:r>
            <a:r>
              <a:rPr lang="ko-KR" altLang="en-US" sz="1600" u="sng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안＂메뉴에</a:t>
            </a:r>
            <a:r>
              <a:rPr lang="ko-KR" altLang="en-US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관련 서류를 첨부하여 등록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주시면 응모가 완료됩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와 관련하여 궁금한 사항이 있으시면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언제든지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“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문의 사항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”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시판을 이용해주세요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마지막으로 여러분이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출한  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를 심사함에 있어서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여러분의 권리를 보호하기 위해서</a:t>
            </a:r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u="sng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모전 응모 약관을 동의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 주셔야 합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(8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페이지 참고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모전 응모 시 약관 동의 후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정상적으로 응모를 완료하실 수 있습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endParaRPr lang="en-US" altLang="ko-KR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감사합니다</a:t>
            </a:r>
            <a:r>
              <a:rPr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lang="ko-KR" altLang="en-US" sz="16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66537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9">
            <a:extLst>
              <a:ext uri="{FF2B5EF4-FFF2-40B4-BE49-F238E27FC236}">
                <a16:creationId xmlns="" xmlns:a16="http://schemas.microsoft.com/office/drawing/2014/main" id="{E38F5B85-CA4A-4030-A14D-4CDA5EC18B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763"/>
          <a:stretch/>
        </p:blipFill>
        <p:spPr bwMode="auto">
          <a:xfrm>
            <a:off x="409720" y="4005064"/>
            <a:ext cx="4123266" cy="1825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2">
            <a:extLst>
              <a:ext uri="{FF2B5EF4-FFF2-40B4-BE49-F238E27FC236}">
                <a16:creationId xmlns="" xmlns:a16="http://schemas.microsoft.com/office/drawing/2014/main" id="{BCA741F2-C6DC-4E5E-B35F-9797EF04300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02" y="2174935"/>
            <a:ext cx="4123266" cy="2120165"/>
          </a:xfrm>
          <a:prstGeom prst="rect">
            <a:avLst/>
          </a:prstGeom>
        </p:spPr>
      </p:pic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7" name="모서리가 둥근 직사각형 44">
            <a:extLst>
              <a:ext uri="{FF2B5EF4-FFF2-40B4-BE49-F238E27FC236}">
                <a16:creationId xmlns="" xmlns:a16="http://schemas.microsoft.com/office/drawing/2014/main" id="{4818723F-27A1-43BA-8EAC-FC26DB717C02}"/>
              </a:ext>
            </a:extLst>
          </p:cNvPr>
          <p:cNvSpPr/>
          <p:nvPr/>
        </p:nvSpPr>
        <p:spPr>
          <a:xfrm>
            <a:off x="558850" y="1127986"/>
            <a:ext cx="8816708" cy="663101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NUGU developers site (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hlinkClick r:id="rId8"/>
              </a:rPr>
              <a:t>https://developers.nugu.co.kr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“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휴 제안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”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으로 접속하세요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="" xmlns:a16="http://schemas.microsoft.com/office/drawing/2014/main" id="{061CF285-607C-4DB1-902F-9F29D92BE283}"/>
              </a:ext>
            </a:extLst>
          </p:cNvPr>
          <p:cNvSpPr/>
          <p:nvPr/>
        </p:nvSpPr>
        <p:spPr>
          <a:xfrm>
            <a:off x="3778912" y="2253549"/>
            <a:ext cx="341164" cy="21709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1" name="Picture 6">
            <a:extLst>
              <a:ext uri="{FF2B5EF4-FFF2-40B4-BE49-F238E27FC236}">
                <a16:creationId xmlns="" xmlns:a16="http://schemas.microsoft.com/office/drawing/2014/main" id="{E768C984-0D84-4139-9512-AE6BDCD401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97"/>
          <a:stretch/>
        </p:blipFill>
        <p:spPr bwMode="auto">
          <a:xfrm>
            <a:off x="5030695" y="2126371"/>
            <a:ext cx="4230461" cy="3913188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아래쪽 화살표 51">
            <a:extLst>
              <a:ext uri="{FF2B5EF4-FFF2-40B4-BE49-F238E27FC236}">
                <a16:creationId xmlns="" xmlns:a16="http://schemas.microsoft.com/office/drawing/2014/main" id="{80BC69F1-C5AB-46B3-9B1D-64A184088ACC}"/>
              </a:ext>
            </a:extLst>
          </p:cNvPr>
          <p:cNvSpPr/>
          <p:nvPr/>
        </p:nvSpPr>
        <p:spPr>
          <a:xfrm>
            <a:off x="3830942" y="3716476"/>
            <a:ext cx="272319" cy="1909859"/>
          </a:xfrm>
          <a:prstGeom prst="downArrow">
            <a:avLst/>
          </a:prstGeom>
          <a:solidFill>
            <a:srgbClr val="FF0000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="" xmlns:a16="http://schemas.microsoft.com/office/drawing/2014/main" id="{52DA3839-00B9-4283-8196-2ECC9DBA6AF3}"/>
              </a:ext>
            </a:extLst>
          </p:cNvPr>
          <p:cNvSpPr/>
          <p:nvPr/>
        </p:nvSpPr>
        <p:spPr>
          <a:xfrm>
            <a:off x="2221715" y="5283475"/>
            <a:ext cx="547727" cy="262681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8" name="Picture 8" descr="click pngì ëí ì´ë¯¸ì§ ê²ìê²°ê³¼">
            <a:extLst>
              <a:ext uri="{FF2B5EF4-FFF2-40B4-BE49-F238E27FC236}">
                <a16:creationId xmlns="" xmlns:a16="http://schemas.microsoft.com/office/drawing/2014/main" id="{44A70130-7972-4919-BF18-3076DBD86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199" y="5499499"/>
            <a:ext cx="776185" cy="48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모서리가 둥근 사각형 설명선 54">
            <a:extLst>
              <a:ext uri="{FF2B5EF4-FFF2-40B4-BE49-F238E27FC236}">
                <a16:creationId xmlns="" xmlns:a16="http://schemas.microsoft.com/office/drawing/2014/main" id="{1B5FBA7C-3779-4DBA-99B1-CBC798186E82}"/>
              </a:ext>
            </a:extLst>
          </p:cNvPr>
          <p:cNvSpPr/>
          <p:nvPr/>
        </p:nvSpPr>
        <p:spPr>
          <a:xfrm>
            <a:off x="1385258" y="3011528"/>
            <a:ext cx="2952328" cy="784468"/>
          </a:xfrm>
          <a:prstGeom prst="wedgeRoundRectCallout">
            <a:avLst>
              <a:gd name="adj1" fmla="val 30419"/>
              <a:gd name="adj2" fmla="val -127609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첫 화면 우측 상단에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upport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부분을 클릭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터치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하세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20" name="모서리가 둥근 사각형 설명선 55">
            <a:extLst>
              <a:ext uri="{FF2B5EF4-FFF2-40B4-BE49-F238E27FC236}">
                <a16:creationId xmlns="" xmlns:a16="http://schemas.microsoft.com/office/drawing/2014/main" id="{17F2A23E-F2FB-4EB4-A4D0-4A4F9777C35C}"/>
              </a:ext>
            </a:extLst>
          </p:cNvPr>
          <p:cNvSpPr/>
          <p:nvPr/>
        </p:nvSpPr>
        <p:spPr>
          <a:xfrm>
            <a:off x="1155298" y="4111934"/>
            <a:ext cx="2426790" cy="784468"/>
          </a:xfrm>
          <a:prstGeom prst="wedgeRoundRectCallout">
            <a:avLst>
              <a:gd name="adj1" fmla="val -8722"/>
              <a:gd name="adj2" fmla="val 97191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화면 하단의 제휴 제안을 눌러주세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cxnSp>
        <p:nvCxnSpPr>
          <p:cNvPr id="21" name="직선 화살표 연결선 20">
            <a:extLst>
              <a:ext uri="{FF2B5EF4-FFF2-40B4-BE49-F238E27FC236}">
                <a16:creationId xmlns="" xmlns:a16="http://schemas.microsoft.com/office/drawing/2014/main" id="{6A204C20-3F40-42FE-A709-B7B44561F5DF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3949494" y="2470641"/>
            <a:ext cx="1249600" cy="41829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22" name="모서리가 둥근 사각형 설명선 58">
            <a:extLst>
              <a:ext uri="{FF2B5EF4-FFF2-40B4-BE49-F238E27FC236}">
                <a16:creationId xmlns="" xmlns:a16="http://schemas.microsoft.com/office/drawing/2014/main" id="{E95575BB-9B40-474D-BAD9-F67A02BCB20C}"/>
              </a:ext>
            </a:extLst>
          </p:cNvPr>
          <p:cNvSpPr/>
          <p:nvPr/>
        </p:nvSpPr>
        <p:spPr>
          <a:xfrm>
            <a:off x="5738646" y="2933234"/>
            <a:ext cx="2952328" cy="784468"/>
          </a:xfrm>
          <a:prstGeom prst="wedgeRoundRectCallout">
            <a:avLst>
              <a:gd name="adj1" fmla="val -58442"/>
              <a:gd name="adj2" fmla="val 45848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지사항으로 이동하여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좌측 중앙에 있는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휴 제안을 눌려주세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="" xmlns:a16="http://schemas.microsoft.com/office/drawing/2014/main" id="{3D86792E-9619-4D20-B9F5-E5FAB8C0E5E7}"/>
              </a:ext>
            </a:extLst>
          </p:cNvPr>
          <p:cNvSpPr/>
          <p:nvPr/>
        </p:nvSpPr>
        <p:spPr>
          <a:xfrm>
            <a:off x="5045977" y="3624048"/>
            <a:ext cx="547727" cy="262681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24" name="Picture 8" descr="click pngì ëí ì´ë¯¸ì§ ê²ìê²°ê³¼">
            <a:extLst>
              <a:ext uri="{FF2B5EF4-FFF2-40B4-BE49-F238E27FC236}">
                <a16:creationId xmlns="" xmlns:a16="http://schemas.microsoft.com/office/drawing/2014/main" id="{D5CA3AA9-A525-445A-A914-7B35E0086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461" y="3840072"/>
            <a:ext cx="776185" cy="48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lick pngì ëí ì´ë¯¸ì§ ê²ìê²°ê³¼">
            <a:extLst>
              <a:ext uri="{FF2B5EF4-FFF2-40B4-BE49-F238E27FC236}">
                <a16:creationId xmlns="" xmlns:a16="http://schemas.microsoft.com/office/drawing/2014/main" id="{E60757DD-AAD9-4CE3-A04B-79E1E99EF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401" y="2370101"/>
            <a:ext cx="776185" cy="48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3426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25" name="모서리가 둥근 직사각형 12">
            <a:extLst>
              <a:ext uri="{FF2B5EF4-FFF2-40B4-BE49-F238E27FC236}">
                <a16:creationId xmlns="" xmlns:a16="http://schemas.microsoft.com/office/drawing/2014/main" id="{EB11FE92-6F84-498A-83FD-14D6980599F3}"/>
              </a:ext>
            </a:extLst>
          </p:cNvPr>
          <p:cNvSpPr/>
          <p:nvPr/>
        </p:nvSpPr>
        <p:spPr>
          <a:xfrm>
            <a:off x="456023" y="872716"/>
            <a:ext cx="8816708" cy="606197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“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휴제안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”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에서 구분을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kumimoji="0" lang="ko-KR" altLang="en-US" sz="1800" b="1" kern="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모전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을 선택하신 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     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내용을 작성해주세요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본 제안서는 꼭 첨부해주셔야 합니다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26" name="Picture 3">
            <a:extLst>
              <a:ext uri="{FF2B5EF4-FFF2-40B4-BE49-F238E27FC236}">
                <a16:creationId xmlns="" xmlns:a16="http://schemas.microsoft.com/office/drawing/2014/main" id="{0FF90B9B-6104-439A-9C9C-E021AEB3E7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486" y="1661506"/>
            <a:ext cx="5359400" cy="4395787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직사각형 26">
            <a:extLst>
              <a:ext uri="{FF2B5EF4-FFF2-40B4-BE49-F238E27FC236}">
                <a16:creationId xmlns="" xmlns:a16="http://schemas.microsoft.com/office/drawing/2014/main" id="{806E22CF-A74E-4BF9-8177-7D2147580E4A}"/>
              </a:ext>
            </a:extLst>
          </p:cNvPr>
          <p:cNvSpPr/>
          <p:nvPr/>
        </p:nvSpPr>
        <p:spPr>
          <a:xfrm>
            <a:off x="1984683" y="3243852"/>
            <a:ext cx="3168352" cy="262681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28" name="Picture 5">
            <a:extLst>
              <a:ext uri="{FF2B5EF4-FFF2-40B4-BE49-F238E27FC236}">
                <a16:creationId xmlns="" xmlns:a16="http://schemas.microsoft.com/office/drawing/2014/main" id="{720B57B9-BFE3-4AD1-AAB4-C3BE4009AC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93" y="3582317"/>
            <a:ext cx="3024336" cy="1819284"/>
          </a:xfrm>
          <a:prstGeom prst="rect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아래쪽 화살표 16">
            <a:extLst>
              <a:ext uri="{FF2B5EF4-FFF2-40B4-BE49-F238E27FC236}">
                <a16:creationId xmlns="" xmlns:a16="http://schemas.microsoft.com/office/drawing/2014/main" id="{6337EF36-7AEE-4E92-B61F-ECCB4EC2D023}"/>
              </a:ext>
            </a:extLst>
          </p:cNvPr>
          <p:cNvSpPr/>
          <p:nvPr/>
        </p:nvSpPr>
        <p:spPr>
          <a:xfrm>
            <a:off x="4160558" y="3360696"/>
            <a:ext cx="272319" cy="608365"/>
          </a:xfrm>
          <a:prstGeom prst="downArrow">
            <a:avLst/>
          </a:prstGeom>
          <a:solidFill>
            <a:srgbClr val="FF0000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="" xmlns:a16="http://schemas.microsoft.com/office/drawing/2014/main" id="{AEE0A310-E7B5-4717-866A-55AC2B8EBF2B}"/>
              </a:ext>
            </a:extLst>
          </p:cNvPr>
          <p:cNvSpPr/>
          <p:nvPr/>
        </p:nvSpPr>
        <p:spPr>
          <a:xfrm>
            <a:off x="2864019" y="4942849"/>
            <a:ext cx="3240360" cy="262681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1" name="모서리가 둥근 사각형 설명선 18">
            <a:extLst>
              <a:ext uri="{FF2B5EF4-FFF2-40B4-BE49-F238E27FC236}">
                <a16:creationId xmlns="" xmlns:a16="http://schemas.microsoft.com/office/drawing/2014/main" id="{BD4339C9-9A74-4F30-977A-41E5CD8796A9}"/>
              </a:ext>
            </a:extLst>
          </p:cNvPr>
          <p:cNvSpPr/>
          <p:nvPr/>
        </p:nvSpPr>
        <p:spPr>
          <a:xfrm>
            <a:off x="4628215" y="3846577"/>
            <a:ext cx="3024336" cy="784468"/>
          </a:xfrm>
          <a:prstGeom prst="wedgeRoundRectCallout">
            <a:avLst>
              <a:gd name="adj1" fmla="val -27654"/>
              <a:gd name="adj2" fmla="val 84147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을 선택해주세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176F42F3-0A51-4566-8EEE-293DE4DBD630}"/>
              </a:ext>
            </a:extLst>
          </p:cNvPr>
          <p:cNvSpPr txBox="1"/>
          <p:nvPr/>
        </p:nvSpPr>
        <p:spPr bwMode="auto">
          <a:xfrm>
            <a:off x="3083339" y="5017455"/>
            <a:ext cx="1728192" cy="1077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7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7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</a:t>
            </a:r>
            <a:r>
              <a:rPr lang="en-US" altLang="ko-KR" sz="7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endParaRPr lang="ko-KR" altLang="en-US" sz="700" kern="0" dirty="0">
              <a:solidFill>
                <a:schemeClr val="bg1">
                  <a:lumMod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42233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13" name="모서리가 둥근 직사각형 8">
            <a:extLst>
              <a:ext uri="{FF2B5EF4-FFF2-40B4-BE49-F238E27FC236}">
                <a16:creationId xmlns="" xmlns:a16="http://schemas.microsoft.com/office/drawing/2014/main" id="{4912186B-67D0-46E3-8C0F-152483845DF5}"/>
              </a:ext>
            </a:extLst>
          </p:cNvPr>
          <p:cNvSpPr/>
          <p:nvPr/>
        </p:nvSpPr>
        <p:spPr>
          <a:xfrm>
            <a:off x="425562" y="836712"/>
            <a:ext cx="8816708" cy="864097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3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안서에는 본 문서를 작성하셔서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의 파일로 등록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해주세요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b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</a:b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     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별도의 추가 자료가 있으신 경우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b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</a:b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      zip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파일로 압축해서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0MB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까지 등록 가능합니다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4" name="Picture 3">
            <a:extLst>
              <a:ext uri="{FF2B5EF4-FFF2-40B4-BE49-F238E27FC236}">
                <a16:creationId xmlns="" xmlns:a16="http://schemas.microsoft.com/office/drawing/2014/main" id="{772BAC85-368D-46EE-9A26-C873A1D89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70" y="1908523"/>
            <a:ext cx="6864350" cy="3968750"/>
          </a:xfrm>
          <a:prstGeom prst="rect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직사각형 14">
            <a:extLst>
              <a:ext uri="{FF2B5EF4-FFF2-40B4-BE49-F238E27FC236}">
                <a16:creationId xmlns="" xmlns:a16="http://schemas.microsoft.com/office/drawing/2014/main" id="{61CB8704-9FB4-4A4F-B272-6345A3AFB89E}"/>
              </a:ext>
            </a:extLst>
          </p:cNvPr>
          <p:cNvSpPr/>
          <p:nvPr/>
        </p:nvSpPr>
        <p:spPr>
          <a:xfrm>
            <a:off x="377478" y="5077565"/>
            <a:ext cx="7136600" cy="72008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1BEF1C36-1647-45CB-B1EC-BCD723AC80BC}"/>
              </a:ext>
            </a:extLst>
          </p:cNvPr>
          <p:cNvSpPr txBox="1"/>
          <p:nvPr/>
        </p:nvSpPr>
        <p:spPr bwMode="auto">
          <a:xfrm>
            <a:off x="2321694" y="2109048"/>
            <a:ext cx="1800200" cy="1955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endParaRPr lang="ko-KR" altLang="en-US" sz="1000" kern="0" dirty="0">
              <a:solidFill>
                <a:schemeClr val="bg1">
                  <a:lumMod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B702AB2-EF20-46CD-98F0-81B4AFFF6883}"/>
              </a:ext>
            </a:extLst>
          </p:cNvPr>
          <p:cNvSpPr txBox="1"/>
          <p:nvPr/>
        </p:nvSpPr>
        <p:spPr bwMode="auto">
          <a:xfrm>
            <a:off x="2326302" y="4278296"/>
            <a:ext cx="4387880" cy="48285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담당자가 확인 할 수 있도록</a:t>
            </a:r>
            <a:endParaRPr lang="en-US" altLang="ko-KR" sz="105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하시는 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Play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에 대한 간략한 설명을 입력해주세요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한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ko-KR" altLang="en-US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락 이내</a:t>
            </a:r>
            <a:r>
              <a:rPr lang="en-US" altLang="ko-KR" sz="105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endParaRPr lang="ko-KR" altLang="en-US" sz="105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13884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7" name="모서리가 둥근 직사각형 6">
            <a:extLst>
              <a:ext uri="{FF2B5EF4-FFF2-40B4-BE49-F238E27FC236}">
                <a16:creationId xmlns="" xmlns:a16="http://schemas.microsoft.com/office/drawing/2014/main" id="{E0527ADE-EAA3-4879-9F51-EDD6D4AEF43D}"/>
              </a:ext>
            </a:extLst>
          </p:cNvPr>
          <p:cNvSpPr/>
          <p:nvPr/>
        </p:nvSpPr>
        <p:spPr>
          <a:xfrm>
            <a:off x="449486" y="908720"/>
            <a:ext cx="8816708" cy="864097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4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NUGU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담당자는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비워두셔도 됩니다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     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또는 담당자명에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“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019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”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라고 넣어주세요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999A736D-4D93-43CF-9C6D-5ED6BFC8C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905" y="2204865"/>
            <a:ext cx="7067550" cy="2387600"/>
          </a:xfrm>
          <a:prstGeom prst="rect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직사각형 8">
            <a:extLst>
              <a:ext uri="{FF2B5EF4-FFF2-40B4-BE49-F238E27FC236}">
                <a16:creationId xmlns="" xmlns:a16="http://schemas.microsoft.com/office/drawing/2014/main" id="{E348ACE0-2323-4F1C-9DD0-1AA01E832C67}"/>
              </a:ext>
            </a:extLst>
          </p:cNvPr>
          <p:cNvSpPr/>
          <p:nvPr/>
        </p:nvSpPr>
        <p:spPr>
          <a:xfrm>
            <a:off x="2065394" y="2348881"/>
            <a:ext cx="5652120" cy="72008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43100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10" name="모서리가 둥근 직사각형 12">
            <a:extLst>
              <a:ext uri="{FF2B5EF4-FFF2-40B4-BE49-F238E27FC236}">
                <a16:creationId xmlns="" xmlns:a16="http://schemas.microsoft.com/office/drawing/2014/main" id="{E508546A-E8B7-4AD9-B813-5458761E1CF2}"/>
              </a:ext>
            </a:extLst>
          </p:cNvPr>
          <p:cNvSpPr/>
          <p:nvPr/>
        </p:nvSpPr>
        <p:spPr>
          <a:xfrm>
            <a:off x="487718" y="872716"/>
            <a:ext cx="8816708" cy="864097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5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휴 제안 업체 정보에서는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기타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를 선택해주시고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</a:t>
            </a:r>
            <a:b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</a:b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     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아래 정보를 기입해주시면 됩니다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="" xmlns:a16="http://schemas.microsoft.com/office/drawing/2014/main" id="{DB0A73B5-9E50-4A68-AF5A-E631763D9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76" y="1880829"/>
            <a:ext cx="6294649" cy="4104456"/>
          </a:xfrm>
          <a:prstGeom prst="rect">
            <a:avLst/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직사각형 11">
            <a:extLst>
              <a:ext uri="{FF2B5EF4-FFF2-40B4-BE49-F238E27FC236}">
                <a16:creationId xmlns="" xmlns:a16="http://schemas.microsoft.com/office/drawing/2014/main" id="{6564B2C8-0165-4E5A-A1DD-4A68AACDB492}"/>
              </a:ext>
            </a:extLst>
          </p:cNvPr>
          <p:cNvSpPr/>
          <p:nvPr/>
        </p:nvSpPr>
        <p:spPr>
          <a:xfrm>
            <a:off x="5359226" y="2202769"/>
            <a:ext cx="743724" cy="36004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EC5AB45-C1DC-453B-A93B-BFBB599D1F8F}"/>
              </a:ext>
            </a:extLst>
          </p:cNvPr>
          <p:cNvSpPr txBox="1"/>
          <p:nvPr/>
        </p:nvSpPr>
        <p:spPr>
          <a:xfrm>
            <a:off x="2077773" y="2598656"/>
            <a:ext cx="3416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회사명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또는 개인 이름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팀 이름을 적어주세요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D1251A20-02C0-4B6E-9ABF-5AA9EEA6AF8D}"/>
              </a:ext>
            </a:extLst>
          </p:cNvPr>
          <p:cNvSpPr txBox="1"/>
          <p:nvPr/>
        </p:nvSpPr>
        <p:spPr>
          <a:xfrm>
            <a:off x="2077773" y="3248981"/>
            <a:ext cx="30155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팀일 경우에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대표자 성함을 적어주세요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62651117-53AA-492D-9056-B07830EB0E66}"/>
              </a:ext>
            </a:extLst>
          </p:cNvPr>
          <p:cNvSpPr txBox="1"/>
          <p:nvPr/>
        </p:nvSpPr>
        <p:spPr>
          <a:xfrm>
            <a:off x="2077773" y="3897053"/>
            <a:ext cx="2762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락 가능한 전화번호를 적어주세요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672C5F10-E1E9-4EAD-AEE1-F64B0CB72826}"/>
              </a:ext>
            </a:extLst>
          </p:cNvPr>
          <p:cNvSpPr txBox="1"/>
          <p:nvPr/>
        </p:nvSpPr>
        <p:spPr>
          <a:xfrm>
            <a:off x="2077773" y="4343047"/>
            <a:ext cx="26019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연락 가능한 이메일을 적어주세요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F33EEAF-E72C-4D61-95E7-795B8CCFD2A3}"/>
              </a:ext>
            </a:extLst>
          </p:cNvPr>
          <p:cNvSpPr txBox="1"/>
          <p:nvPr/>
        </p:nvSpPr>
        <p:spPr>
          <a:xfrm>
            <a:off x="2077773" y="4803224"/>
            <a:ext cx="15600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비워두셔도 됩니다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85A77D97-BE0F-4539-B813-CDF1B06EE212}"/>
              </a:ext>
            </a:extLst>
          </p:cNvPr>
          <p:cNvSpPr txBox="1"/>
          <p:nvPr/>
        </p:nvSpPr>
        <p:spPr>
          <a:xfrm>
            <a:off x="2077773" y="5481229"/>
            <a:ext cx="15600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비워두셔도 됩니다</a:t>
            </a:r>
            <a:r>
              <a:rPr kumimoji="0" lang="en-US" altLang="ko-KR" sz="140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kumimoji="0" lang="ko-KR" altLang="en-US" sz="1400" dirty="0">
              <a:solidFill>
                <a:srgbClr val="FF0000"/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50794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45" y="1589"/>
          <a:ext cx="164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" y="1589"/>
                        <a:ext cx="164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C1425CF2-1BB2-4086-B8B5-2D653CD74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422" y="216982"/>
            <a:ext cx="5070624" cy="3693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1" rIns="91420" bIns="45711" anchor="ctr">
            <a:spAutoFit/>
          </a:bodyPr>
          <a:lstStyle/>
          <a:p>
            <a:pPr lvl="0">
              <a:defRPr/>
            </a:pPr>
            <a:r>
              <a:rPr lang="ko-KR" altLang="en-US" sz="1800" b="1" dirty="0">
                <a:solidFill>
                  <a:srgbClr val="00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응모 방법 안내</a:t>
            </a:r>
          </a:p>
        </p:txBody>
      </p:sp>
      <p:sp>
        <p:nvSpPr>
          <p:cNvPr id="20" name="모서리가 둥근 직사각형 12">
            <a:extLst>
              <a:ext uri="{FF2B5EF4-FFF2-40B4-BE49-F238E27FC236}">
                <a16:creationId xmlns="" xmlns:a16="http://schemas.microsoft.com/office/drawing/2014/main" id="{CEAACBE9-EB62-48D1-9179-88CBC4E679E6}"/>
              </a:ext>
            </a:extLst>
          </p:cNvPr>
          <p:cNvSpPr/>
          <p:nvPr/>
        </p:nvSpPr>
        <p:spPr>
          <a:xfrm>
            <a:off x="487718" y="872716"/>
            <a:ext cx="9286804" cy="864097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tint val="50000"/>
                  <a:satMod val="300000"/>
                </a:sysClr>
              </a:gs>
              <a:gs pos="35000">
                <a:sysClr val="windowText" lastClr="000000">
                  <a:tint val="37000"/>
                  <a:satMod val="300000"/>
                </a:sysClr>
              </a:gs>
              <a:gs pos="100000">
                <a:sysClr val="windowText" lastClr="000000">
                  <a:tint val="15000"/>
                  <a:satMod val="350000"/>
                </a:sysClr>
              </a:gs>
            </a:gsLst>
            <a:lin ang="16200000" scaled="1"/>
          </a:gra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6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단계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 </a:t>
            </a:r>
            <a:r>
              <a:rPr kumimoji="0" lang="ko-KR" altLang="en-US" sz="18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안 등록 하단에 위치한 </a:t>
            </a:r>
            <a:r>
              <a:rPr kumimoji="0" lang="en-US" altLang="ko-KR" sz="1800" b="1" kern="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‘NUGU Play </a:t>
            </a:r>
            <a:r>
              <a:rPr kumimoji="0" lang="ko-KR" altLang="en-US" sz="1800" b="1" kern="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응모 약관</a:t>
            </a:r>
            <a:r>
              <a:rPr kumimoji="0" lang="en-US" altLang="ko-KR" sz="1800" b="1" kern="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’ </a:t>
            </a:r>
            <a:r>
              <a:rPr kumimoji="0" lang="ko-KR" altLang="en-US" sz="1800" b="1" kern="0" dirty="0">
                <a:solidFill>
                  <a:srgbClr val="FF0000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및 추가 약관</a:t>
            </a:r>
            <a:r>
              <a:rPr kumimoji="0" lang="ko-KR" altLang="en-US" sz="18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을 동의 해주세요</a:t>
            </a:r>
            <a:r>
              <a:rPr kumimoji="0" lang="en-US" altLang="ko-KR" sz="1800" b="1" kern="0" dirty="0">
                <a:solidFill>
                  <a:prstClr val="black"/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동의 시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세부 내용을 꼭 확인하시기 바랍니다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="" xmlns:a16="http://schemas.microsoft.com/office/drawing/2014/main" id="{191D209D-0A99-4BB0-9AD6-963E51D40A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976" y="2096852"/>
            <a:ext cx="5110598" cy="4350058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="" xmlns:a16="http://schemas.microsoft.com/office/drawing/2014/main" id="{7681A908-D4AC-4210-AEDA-C55507C6E511}"/>
              </a:ext>
            </a:extLst>
          </p:cNvPr>
          <p:cNvSpPr/>
          <p:nvPr/>
        </p:nvSpPr>
        <p:spPr>
          <a:xfrm>
            <a:off x="5250831" y="3573016"/>
            <a:ext cx="1715379" cy="36004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23" name="모서리가 둥근 사각형 설명선 26">
            <a:extLst>
              <a:ext uri="{FF2B5EF4-FFF2-40B4-BE49-F238E27FC236}">
                <a16:creationId xmlns="" xmlns:a16="http://schemas.microsoft.com/office/drawing/2014/main" id="{513BA4AD-F072-4C32-9C63-5336E461D6A3}"/>
              </a:ext>
            </a:extLst>
          </p:cNvPr>
          <p:cNvSpPr/>
          <p:nvPr/>
        </p:nvSpPr>
        <p:spPr>
          <a:xfrm>
            <a:off x="5418038" y="4185084"/>
            <a:ext cx="2952328" cy="784468"/>
          </a:xfrm>
          <a:prstGeom prst="wedgeRoundRectCallout">
            <a:avLst>
              <a:gd name="adj1" fmla="val -33312"/>
              <a:gd name="adj2" fmla="val -100710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인 정보 수집 및 이용 동의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유의사항을 동의해주세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pic>
        <p:nvPicPr>
          <p:cNvPr id="29" name="그림 28">
            <a:extLst>
              <a:ext uri="{FF2B5EF4-FFF2-40B4-BE49-F238E27FC236}">
                <a16:creationId xmlns="" xmlns:a16="http://schemas.microsoft.com/office/drawing/2014/main" id="{47381E33-58E9-4CE4-9789-65294EA1E05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577"/>
          <a:stretch/>
        </p:blipFill>
        <p:spPr>
          <a:xfrm>
            <a:off x="0" y="2506284"/>
            <a:ext cx="5110598" cy="1845432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="" xmlns:a16="http://schemas.microsoft.com/office/drawing/2014/main" id="{08C18E86-2F1D-4603-B121-30B74EA07267}"/>
              </a:ext>
            </a:extLst>
          </p:cNvPr>
          <p:cNvSpPr/>
          <p:nvPr/>
        </p:nvSpPr>
        <p:spPr>
          <a:xfrm>
            <a:off x="5235045" y="5523805"/>
            <a:ext cx="2091205" cy="36004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6B0EC29D-E8C3-4056-86E3-C49DB48B0779}"/>
              </a:ext>
            </a:extLst>
          </p:cNvPr>
          <p:cNvSpPr txBox="1"/>
          <p:nvPr/>
        </p:nvSpPr>
        <p:spPr bwMode="auto">
          <a:xfrm>
            <a:off x="89446" y="2636912"/>
            <a:ext cx="2088232" cy="1615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ko-KR" altLang="en-US" sz="1050" kern="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  </a:t>
            </a:r>
            <a:r>
              <a:rPr lang="en-US" altLang="ko-KR" sz="1050" kern="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1050" kern="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 응모 동의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BD57C96D-8B0E-4DAD-91DE-74EE8E275432}"/>
              </a:ext>
            </a:extLst>
          </p:cNvPr>
          <p:cNvSpPr txBox="1"/>
          <p:nvPr/>
        </p:nvSpPr>
        <p:spPr bwMode="auto">
          <a:xfrm>
            <a:off x="241846" y="2929123"/>
            <a:ext cx="4636132" cy="9411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atinLnBrk="0">
              <a:spcBef>
                <a:spcPct val="20000"/>
              </a:spcBef>
              <a:buSzPct val="120000"/>
            </a:pP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“공모전 </a:t>
            </a:r>
            <a:r>
              <a:rPr lang="ko-KR" altLang="en-US" sz="1050" kern="0" dirty="0" err="1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참가자”는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K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텔레콤 주식회사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(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하 “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SK </a:t>
            </a:r>
            <a:r>
              <a:rPr lang="ko-KR" altLang="en-US" sz="1050" kern="0" dirty="0" err="1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텔레콤”이라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합니다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)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의 ‘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개발 공모전’ 에 제안함에 있어서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다음의 사항을 숙지하고 있음을 확인하고 이에 동의합니다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latinLnBrk="0">
              <a:spcBef>
                <a:spcPct val="20000"/>
              </a:spcBef>
              <a:buSzPct val="120000"/>
            </a:pP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가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아이디어를 ‘</a:t>
            </a:r>
            <a:r>
              <a:rPr lang="ko-KR" altLang="en-US" sz="1050" kern="0" dirty="0" err="1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안’하는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“</a:t>
            </a:r>
            <a:r>
              <a:rPr lang="ko-KR" altLang="en-US" sz="1050" kern="0" dirty="0" err="1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제안자”의</a:t>
            </a:r>
            <a:r>
              <a:rPr lang="ko-KR" altLang="en-US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권리 보호를 위하여 다음 사항에 대하여 유의하시기 바랍니다</a:t>
            </a:r>
            <a:r>
              <a:rPr lang="en-US" altLang="ko-KR" sz="105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4A2CB679-256C-473D-9A41-044CD2EEF6C9}"/>
              </a:ext>
            </a:extLst>
          </p:cNvPr>
          <p:cNvSpPr txBox="1"/>
          <p:nvPr/>
        </p:nvSpPr>
        <p:spPr bwMode="auto">
          <a:xfrm>
            <a:off x="387984" y="4101367"/>
            <a:ext cx="2617786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latinLnBrk="0">
              <a:spcBef>
                <a:spcPct val="20000"/>
              </a:spcBef>
              <a:buSzPct val="120000"/>
            </a:pP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NUGU Play </a:t>
            </a:r>
            <a:r>
              <a:rPr lang="ko-KR" altLang="en-US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모전 응모에 동의합니다</a:t>
            </a:r>
            <a:r>
              <a:rPr lang="en-US" altLang="ko-KR" sz="1000" kern="0" dirty="0">
                <a:solidFill>
                  <a:schemeClr val="bg1">
                    <a:lumMod val="50000"/>
                  </a:schemeClr>
                </a:solidFill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  <a:endParaRPr lang="ko-KR" altLang="en-US" sz="1000" kern="0" dirty="0">
              <a:solidFill>
                <a:schemeClr val="bg1">
                  <a:lumMod val="50000"/>
                </a:schemeClr>
              </a:solidFill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0" name="모서리가 둥근 사각형 설명선 26">
            <a:extLst>
              <a:ext uri="{FF2B5EF4-FFF2-40B4-BE49-F238E27FC236}">
                <a16:creationId xmlns="" xmlns:a16="http://schemas.microsoft.com/office/drawing/2014/main" id="{CE0C213C-93BD-4897-AEAE-5A822ADF71AF}"/>
              </a:ext>
            </a:extLst>
          </p:cNvPr>
          <p:cNvSpPr/>
          <p:nvPr/>
        </p:nvSpPr>
        <p:spPr>
          <a:xfrm>
            <a:off x="1321078" y="4671223"/>
            <a:ext cx="2952328" cy="784468"/>
          </a:xfrm>
          <a:prstGeom prst="wedgeRoundRectCallout">
            <a:avLst>
              <a:gd name="adj1" fmla="val -33312"/>
              <a:gd name="adj2" fmla="val -100710"/>
              <a:gd name="adj3" fmla="val 16667"/>
            </a:avLst>
          </a:prstGeom>
          <a:solidFill>
            <a:srgbClr val="F79646"/>
          </a:solidFill>
          <a:ln w="25400" cap="flat" cmpd="sng" algn="ctr">
            <a:solidFill>
              <a:srgbClr val="F79646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모전 응모 약관을 동의해주세요</a:t>
            </a:r>
            <a:r>
              <a:rPr kumimoji="0" lang="en-US" altLang="ko-K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="" xmlns:a16="http://schemas.microsoft.com/office/drawing/2014/main" id="{6CEC3805-5295-4BC5-89A5-5005981F8F33}"/>
              </a:ext>
            </a:extLst>
          </p:cNvPr>
          <p:cNvSpPr/>
          <p:nvPr/>
        </p:nvSpPr>
        <p:spPr>
          <a:xfrm>
            <a:off x="38450" y="3991676"/>
            <a:ext cx="2427260" cy="36004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803087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88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3175" cap="flat" cmpd="sng" algn="ctr">
          <a:solidFill>
            <a:schemeClr val="bg1">
              <a:lumMod val="65000"/>
            </a:schemeClr>
          </a:solidFill>
          <a:prstDash val="solid"/>
        </a:ln>
        <a:effectLst/>
      </a:spPr>
      <a:bodyPr lIns="36000" tIns="36000" rIns="36000" bIns="36000" rtlCol="0" anchor="ctr"/>
      <a:lstStyle>
        <a:defPPr marL="0" marR="0" indent="0" algn="ctr" defTabSz="914400" eaLnBrk="1" fontAlgn="auto" latinLnBrk="0" hangingPunct="1">
          <a:lnSpc>
            <a:spcPts val="16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i="0" u="none" strike="noStrike" kern="0" cap="none" spc="-60" normalizeH="0" baseline="0" noProof="0" dirty="0" smtClean="0">
            <a:ln>
              <a:solidFill>
                <a:prstClr val="white">
                  <a:alpha val="10000"/>
                </a:prstClr>
              </a:solidFill>
            </a:ln>
            <a:effectLst/>
            <a:uLnTx/>
            <a:uFillTx/>
            <a:latin typeface="+mn-ea"/>
            <a:ea typeface="+mn-ea"/>
            <a:cs typeface="+mn-cs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 latinLnBrk="0">
          <a:spcBef>
            <a:spcPct val="20000"/>
          </a:spcBef>
          <a:buSzPct val="120000"/>
          <a:defRPr sz="1200" kern="0" dirty="0" smtClean="0">
            <a:latin typeface="+mn-ea"/>
            <a:ea typeface="+mn-ea"/>
          </a:defRPr>
        </a:defPPr>
      </a:lstStyle>
    </a:txDef>
  </a:objectDefaults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88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0" rIns="18000" bIns="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400" smtClean="0">
            <a:latin typeface="맑은 고딕" pitchFamily="50" charset="-127"/>
            <a:ea typeface="맑은 고딕" pitchFamily="50" charset="-127"/>
            <a:cs typeface="Arials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marL="179388" marR="0" indent="-179388" algn="l" defTabSz="914400" rtl="0" eaLnBrk="0" fontAlgn="base" latinLnBrk="1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0000"/>
          <a:buFont typeface="Wingdings" pitchFamily="2" charset="2"/>
          <a:buNone/>
          <a:tabLst/>
          <a:defRPr kumimoji="1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</a:defRPr>
        </a:defPPr>
      </a:lstStyle>
    </a:txDef>
  </a:objectDefaults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디자인 사용자 지정">
  <a:themeElements>
    <a:clrScheme name="1_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88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0" rIns="18000" bIns="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400" smtClean="0">
            <a:latin typeface="맑은 고딕" pitchFamily="50" charset="-127"/>
            <a:ea typeface="맑은 고딕" pitchFamily="50" charset="-127"/>
            <a:cs typeface="Arials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marL="179388" marR="0" indent="-179388" algn="l" defTabSz="914400" rtl="0" eaLnBrk="0" fontAlgn="base" latinLnBrk="1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0000"/>
          <a:buFont typeface="Wingdings" pitchFamily="2" charset="2"/>
          <a:buNone/>
          <a:tabLst/>
          <a:defRPr kumimoji="1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</a:defRPr>
        </a:defPPr>
      </a:lstStyle>
    </a:txDef>
  </a:objectDefaults>
  <a:extraClrSchemeLst>
    <a:extraClrScheme>
      <a:clrScheme name="1_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2_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FFFF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FFFF"/>
      </a:accent5>
      <a:accent6>
        <a:srgbClr val="C8C8C8"/>
      </a:accent6>
      <a:hlink>
        <a:srgbClr val="CCCCFF"/>
      </a:hlink>
      <a:folHlink>
        <a:srgbClr val="DDDDDD"/>
      </a:folHlink>
    </a:clrScheme>
    <a:fontScheme name="3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101600" marR="0" indent="-1016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20000"/>
          </a:spcAft>
          <a:buClrTx/>
          <a:buSzTx/>
          <a:buFont typeface="Wingdings" pitchFamily="2" charset="2"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ahoma" pitchFamily="34" charset="0"/>
            <a:ea typeface="맑은 고딕" pitchFamily="50" charset="-127"/>
          </a:defRPr>
        </a:defPPr>
      </a:lstStyle>
    </a:spDef>
    <a:lnDef>
      <a:spPr bwMode="auto">
        <a:noFill/>
        <a:ln w="9525">
          <a:solidFill>
            <a:srgbClr val="4D4D4D"/>
          </a:solidFill>
          <a:miter lim="800000"/>
          <a:headEnd/>
          <a:tailEnd/>
        </a:ln>
      </a:spPr>
      <a:bodyPr/>
      <a:lstStyle/>
    </a:lnDef>
  </a:objectDefaults>
  <a:extraClrSchemeLst>
    <a:extraClrScheme>
      <a:clrScheme name="3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4270638</TotalTime>
  <Pages>39</Pages>
  <Words>437</Words>
  <Application>Microsoft Office PowerPoint</Application>
  <PresentationFormat>사용자 지정</PresentationFormat>
  <Paragraphs>61</Paragraphs>
  <Slides>9</Slides>
  <Notes>0</Notes>
  <HiddenSlides>0</HiddenSlides>
  <MMClips>0</MMClips>
  <ScaleCrop>false</ScaleCrop>
  <HeadingPairs>
    <vt:vector size="6" baseType="variant"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4" baseType="lpstr">
      <vt:lpstr>1_디자인 사용자 지정</vt:lpstr>
      <vt:lpstr>2_디자인 사용자 지정</vt:lpstr>
      <vt:lpstr>3_디자인 사용자 지정</vt:lpstr>
      <vt:lpstr>12_기본 디자인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개선과제 보고서</dc:title>
  <dc:creator>김응원/경영전략팀</dc:creator>
  <cp:lastModifiedBy>ACID</cp:lastModifiedBy>
  <cp:revision>22285</cp:revision>
  <cp:lastPrinted>2018-06-19T23:50:16Z</cp:lastPrinted>
  <dcterms:created xsi:type="dcterms:W3CDTF">1996-10-14T12:11:22Z</dcterms:created>
  <dcterms:modified xsi:type="dcterms:W3CDTF">2019-03-24T14:44:05Z</dcterms:modified>
</cp:coreProperties>
</file>